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>
        <p:scale>
          <a:sx n="66" d="100"/>
          <a:sy n="66" d="100"/>
        </p:scale>
        <p:origin x="668" y="32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3.png"/><Relationship Id="rId5" Type="http://schemas.openxmlformats.org/officeDocument/2006/relationships/hyperlink" Target="https://github.com/akshayrai14/CaseStudy_Akshay" TargetMode="External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kshay Ra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6-Sept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How I feel Shell implements this learning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Shell configures YAML files in GitHub Actions for efficient CI and uses Azure VMs for testing and deployment, ensuring a seamless workflow from development to production.</a:t>
            </a:r>
          </a:p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How I feel Shell benefits from this learning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Using Azure VMs for testing and deployment ensures that Shell’s energy projects are scalable and reliable, supporting continuous improvements and efficient resource management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This image </a:t>
            </a:r>
          </a:p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illustrate Shell’s </a:t>
            </a:r>
          </a:p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commitment to</a:t>
            </a:r>
          </a:p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leveraging </a:t>
            </a:r>
          </a:p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advanced </a:t>
            </a:r>
          </a:p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technologies to </a:t>
            </a:r>
          </a:p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optimize their </a:t>
            </a:r>
          </a:p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operations and </a:t>
            </a:r>
          </a:p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ensure safety </a:t>
            </a:r>
          </a:p>
          <a:p>
            <a:pPr marL="0" indent="0">
              <a:buNone/>
            </a:pPr>
            <a:r>
              <a:rPr lang="en-US" sz="2400" b="0" i="0" dirty="0">
                <a:effectLst/>
                <a:latin typeface="-apple-system"/>
              </a:rPr>
              <a:t>and efficiency.</a:t>
            </a: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4AB44E7-911B-D930-1CFC-115287D64C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94700" y="2661514"/>
            <a:ext cx="3237659" cy="247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b="1" i="0">
                <a:solidFill>
                  <a:srgbClr val="111111"/>
                </a:solidFill>
                <a:effectLst/>
                <a:latin typeface="-apple-system"/>
              </a:rPr>
              <a:t>Challenges I faced</a:t>
            </a:r>
            <a:r>
              <a:rPr lang="en-US" sz="2400" b="0" i="0">
                <a:solidFill>
                  <a:srgbClr val="111111"/>
                </a:solidFill>
                <a:effectLst/>
                <a:latin typeface="-apple-system"/>
              </a:rPr>
              <a:t>: Estimating acceptance criteria and defining story priority on Microsoft Azure Product backlog was difficult. Functional testing helped clarify acceptance criteria.</a:t>
            </a:r>
          </a:p>
          <a:p>
            <a:pPr algn="l"/>
            <a:r>
              <a:rPr lang="en-US" sz="2400" b="1" i="0">
                <a:solidFill>
                  <a:srgbClr val="111111"/>
                </a:solidFill>
                <a:effectLst/>
                <a:latin typeface="-apple-system"/>
              </a:rPr>
              <a:t>How I plan to overcome them</a:t>
            </a:r>
            <a:r>
              <a:rPr lang="en-US" sz="2400" b="0" i="0">
                <a:solidFill>
                  <a:srgbClr val="111111"/>
                </a:solidFill>
                <a:effectLst/>
                <a:latin typeface="-apple-system"/>
              </a:rPr>
              <a:t>: Practice estimating criteria and prioritizing stori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E1134B-2279-E896-8D7A-0B31052209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8754" y="2349499"/>
            <a:ext cx="5285074" cy="3138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Challenges I faced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Understanding the YAML file setup for workflows was challenging, causing build failures. Asking the facilitator clarified the workflow.</a:t>
            </a:r>
          </a:p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How I plan to overcome them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Study YAML syntax and workflow exampl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0F5EE3-26C2-FE06-DBA0-77272F09DA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72829" y="1971895"/>
            <a:ext cx="3006645" cy="3854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Challenges I faced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Setting up Azure VM was tedious due to availability zone issues and slow performance. Delegating tasks and adjusting settings resolved the issues.</a:t>
            </a:r>
          </a:p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How I plan to overcome them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Improve VM setup skills and team coordination.</a:t>
            </a:r>
          </a:p>
          <a:p>
            <a:pPr algn="l"/>
            <a:r>
              <a:rPr lang="en-US" sz="2400" b="1" i="0" dirty="0" err="1">
                <a:solidFill>
                  <a:srgbClr val="111111"/>
                </a:solidFill>
                <a:effectLst/>
                <a:latin typeface="-apple-system"/>
              </a:rPr>
              <a:t>Github</a:t>
            </a: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 Link-</a:t>
            </a:r>
            <a:b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</a:br>
            <a:r>
              <a:rPr lang="en-US" sz="2000" dirty="0">
                <a:latin typeface="-apple-system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kshayrai14/</a:t>
            </a:r>
            <a:r>
              <a:rPr lang="en-US" sz="2000" dirty="0" err="1">
                <a:latin typeface="-apple-system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tudy_Akshay</a:t>
            </a:r>
            <a:r>
              <a:rPr lang="en-US" sz="2000" dirty="0">
                <a:latin typeface="-apple-system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 Case Study for workflow and testing (github.com)</a:t>
            </a:r>
            <a:endParaRPr lang="en-US" sz="2000" b="0" i="0" dirty="0">
              <a:effectLst/>
              <a:latin typeface="-apple-system"/>
            </a:endParaRP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A photo of my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eam taken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by me when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hey were trying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o figure out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he case study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on which we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had to work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6C3600B-1645-8B0A-D4D1-485899186D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46617" y="2234940"/>
            <a:ext cx="3262911" cy="353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I plan to enhance my CI/CD pipeline skills by integrating Docker with GitHub Actions. I’ll also write more YAML codes for various small projects to overcome configuration challenges.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I aim to implement these actions within the next two weeks to be well-prepared before joining my team.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By the end of this week, I’ve learned Docker basics, pipelining, PostgreSQL commands, and GitHub Actions. I implemented a case work for a small project in java with  Maven where I also worked on Azure VM and </a:t>
            </a:r>
            <a:r>
              <a:rPr lang="en-US" sz="2400" b="0" i="0" dirty="0" err="1">
                <a:solidFill>
                  <a:srgbClr val="111111"/>
                </a:solidFill>
                <a:effectLst/>
                <a:latin typeface="-apple-system"/>
              </a:rPr>
              <a:t>Github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 Actions workflow.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My learning was fun because our facilitator was energetic and used real-life examples to explain each topic practically.</a:t>
            </a:r>
            <a:b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</a:br>
            <a:b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</a:b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Group work :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 Setting up the Azure VM was challenging </a:t>
            </a:r>
            <a:r>
              <a:rPr lang="en-US" sz="1600" dirty="0">
                <a:solidFill>
                  <a:srgbClr val="111111"/>
                </a:solidFill>
                <a:latin typeface="-apple-system"/>
              </a:rPr>
              <a:t>but I 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successfully deployed the VM in time. I also created the bug report and helped everyone set up the CI workflow using GitHub Actions. Additionally, I compiled the entire documentation, ensuring all details were accurately captured.</a:t>
            </a:r>
            <a:b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</a:br>
            <a:b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</a:b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Funny Incident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: I kept confusing YAML and XML files during my presentation, which was quite amusing. When questioned by our facilitator, I finally clarified the concepts in my mind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969EF6A-B125-8F46-DD5B-530AE6AC98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22680" y="2194400"/>
            <a:ext cx="2677071" cy="361507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FD4C5B5-FEC5-B454-D8C9-34098F2D01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9319" y="2194401"/>
            <a:ext cx="2484842" cy="361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b="0" i="0" dirty="0">
                <a:solidFill>
                  <a:srgbClr val="111111"/>
                </a:solidFill>
                <a:effectLst/>
                <a:latin typeface="-apple-system"/>
              </a:rPr>
              <a:t>This week focused on the Software Testing Life Cycle (STLC), CI/CD pipelines with GitHub Actions, PostgreSQL, and setting up Azure VMs, culminating in a comprehensive case study.</a:t>
            </a:r>
          </a:p>
          <a:p>
            <a:pPr>
              <a:lnSpc>
                <a:spcPct val="100000"/>
              </a:lnSpc>
            </a:pPr>
            <a:r>
              <a:rPr lang="en-US" sz="2000" b="0" i="0" dirty="0">
                <a:solidFill>
                  <a:srgbClr val="111111"/>
                </a:solidFill>
                <a:effectLst/>
                <a:latin typeface="-apple-system"/>
              </a:rPr>
              <a:t>Upcoming week : Frontend development, .NET code with C#, Application Security, and Experience Design, along with an </a:t>
            </a:r>
            <a:r>
              <a:rPr lang="en-US" sz="2000" b="0" i="0" dirty="0" err="1">
                <a:solidFill>
                  <a:srgbClr val="111111"/>
                </a:solidFill>
                <a:effectLst/>
                <a:latin typeface="-apple-system"/>
              </a:rPr>
              <a:t>Openhack</a:t>
            </a:r>
            <a:r>
              <a:rPr lang="en-US" sz="2000" b="0" i="0" dirty="0">
                <a:solidFill>
                  <a:srgbClr val="111111"/>
                </a:solidFill>
                <a:effectLst/>
                <a:latin typeface="-apple-system"/>
              </a:rPr>
              <a:t> event to build an app.</a:t>
            </a:r>
          </a:p>
          <a:p>
            <a:pPr>
              <a:lnSpc>
                <a:spcPct val="100000"/>
              </a:lnSpc>
            </a:pPr>
            <a:r>
              <a:rPr lang="en-US" sz="2000" b="0" i="0" dirty="0">
                <a:solidFill>
                  <a:srgbClr val="111111"/>
                </a:solidFill>
                <a:effectLst/>
                <a:latin typeface="-apple-system"/>
              </a:rPr>
              <a:t>Understanding testing and CI/CD processes will aid in developing secure, efficient frontend and backend applications, ensuring seamless integration and deployment in the upcoming </a:t>
            </a:r>
            <a:r>
              <a:rPr lang="en-US" sz="2000" b="0" i="0" dirty="0" err="1">
                <a:solidFill>
                  <a:srgbClr val="111111"/>
                </a:solidFill>
                <a:effectLst/>
                <a:latin typeface="-apple-system"/>
              </a:rPr>
              <a:t>Openhack</a:t>
            </a:r>
            <a:r>
              <a:rPr lang="en-US" sz="2000" b="0" i="0" dirty="0">
                <a:solidFill>
                  <a:srgbClr val="111111"/>
                </a:solidFill>
                <a:effectLst/>
                <a:latin typeface="-apple-system"/>
              </a:rPr>
              <a:t> project.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800" dirty="0"/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atience is not the ability to wait but the ability to keep a good attitude while waiting 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8" name="Picture 4" descr="Image result for Coder Clip Art">
            <a:extLst>
              <a:ext uri="{FF2B5EF4-FFF2-40B4-BE49-F238E27FC236}">
                <a16:creationId xmlns:a16="http://schemas.microsoft.com/office/drawing/2014/main" id="{6FFCB9F9-F86C-893E-A313-75846ABA55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2511" y="2579220"/>
            <a:ext cx="2581275" cy="2581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Key Learning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Understanding the sequence of activities in STLC, from requirement analysis to test cycle closur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Key Takeaway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Efficient testing ensures software reliability and quality, saving time and resourc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Implementation in Energy Sector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Ensures robust software for energy management system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65FCA50-E75A-7616-916B-789DF13CE9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1165" y="2296445"/>
            <a:ext cx="5189974" cy="320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Key Learning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Setting up workflows for continuous integration and continuous deployment using GitHub Actions and learning use cases of PostgreSQL 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Key Takeaway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Automating code integration and deployment enhances development speed and reduces error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Implementation in Energy Sector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Streamlines updates for energy monitoring application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550BF7-C378-B52D-A622-B3A0B14A93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0427" y="2609754"/>
            <a:ext cx="5231450" cy="2578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Key Learning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Working on Case Study where I implement Continuous Integration using </a:t>
            </a:r>
            <a:r>
              <a:rPr lang="en-US" sz="2400" dirty="0" err="1">
                <a:solidFill>
                  <a:srgbClr val="111111"/>
                </a:solidFill>
                <a:latin typeface="-apple-system"/>
              </a:rPr>
              <a:t>G</a:t>
            </a:r>
            <a:r>
              <a:rPr lang="en-US" sz="2400" b="0" i="0" dirty="0" err="1">
                <a:solidFill>
                  <a:srgbClr val="111111"/>
                </a:solidFill>
                <a:effectLst/>
                <a:latin typeface="-apple-system"/>
              </a:rPr>
              <a:t>ithub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 actions for a java with maven code file and work with Azure VM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Key Takeaway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YAML file in </a:t>
            </a:r>
            <a:r>
              <a:rPr lang="en-US" sz="2400" b="0" i="0" dirty="0" err="1">
                <a:solidFill>
                  <a:srgbClr val="111111"/>
                </a:solidFill>
                <a:effectLst/>
                <a:latin typeface="-apple-system"/>
              </a:rPr>
              <a:t>Github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 actions has to be configured properly for the CI to work efficientl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Implementation in Energy Sector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</a:t>
            </a:r>
            <a:r>
              <a:rPr lang="en-US" sz="2400" dirty="0">
                <a:solidFill>
                  <a:srgbClr val="111111"/>
                </a:solidFill>
                <a:latin typeface="-apple-system"/>
              </a:rPr>
              <a:t> Energy projects where continuous changes are important are implemented in this way.</a:t>
            </a:r>
            <a:endParaRPr lang="en-US" sz="2000" b="0" i="0" dirty="0">
              <a:solidFill>
                <a:srgbClr val="111111"/>
              </a:solidFill>
              <a:effectLst/>
              <a:latin typeface="-apple-system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7A51CD-1E1E-9D83-A81E-487AAB8724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0116" y="2540034"/>
            <a:ext cx="5293712" cy="2718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How I feel Shell implements this learning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Shell meticulously follows the STLC process, from requirement analysis to test cycle closure, to maintain high software quality.</a:t>
            </a:r>
          </a:p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How I feel Shell benefits from this learning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By adhering to STLC, Shell ensures its software is reliable and efficient, reducing downtime and enhancing overall operational efficiency in energy management systems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B6A81E9-A495-322E-B992-33AECB4421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3575" y="2077313"/>
            <a:ext cx="4865154" cy="36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How I feel Shell implements this learning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Shell uses GitHub Actions to automate code integration and deployment, ensuring that updates are seamlessly integrated without disrupting existing functionalities.</a:t>
            </a:r>
          </a:p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How I feel Shell benefits from this learning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This automation speeds up development cycles and minimizes errors, allowing Shell to quickly adapt to changes and maintain robust energy monitoring application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386FA13-3929-E63C-3A10-9BAC49B89D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0046" y="2095491"/>
            <a:ext cx="4772212" cy="3607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15</TotalTime>
  <Words>982</Words>
  <Application>Microsoft Office PowerPoint</Application>
  <PresentationFormat>Widescreen</PresentationFormat>
  <Paragraphs>86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Rai, Akshay SBOBNG-PTIY/BEJ</cp:lastModifiedBy>
  <cp:revision>504</cp:revision>
  <dcterms:created xsi:type="dcterms:W3CDTF">2022-01-18T12:35:56Z</dcterms:created>
  <dcterms:modified xsi:type="dcterms:W3CDTF">2024-09-06T11:1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